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8731" r:id="rId4"/>
  </p:sldMasterIdLst>
  <p:notesMasterIdLst>
    <p:notesMasterId r:id="rId70"/>
  </p:notesMasterIdLst>
  <p:handoutMasterIdLst>
    <p:handoutMasterId r:id="rId71"/>
  </p:handoutMasterIdLst>
  <p:sldIdLst>
    <p:sldId id="257" r:id="rId5"/>
    <p:sldId id="2146847468" r:id="rId6"/>
    <p:sldId id="6031" r:id="rId7"/>
    <p:sldId id="2146847467" r:id="rId8"/>
    <p:sldId id="2146847522" r:id="rId9"/>
    <p:sldId id="2146847523" r:id="rId10"/>
    <p:sldId id="2146847524" r:id="rId11"/>
    <p:sldId id="2146847525" r:id="rId12"/>
    <p:sldId id="2146847473" r:id="rId13"/>
    <p:sldId id="283" r:id="rId14"/>
    <p:sldId id="297" r:id="rId15"/>
    <p:sldId id="298" r:id="rId16"/>
    <p:sldId id="299" r:id="rId17"/>
    <p:sldId id="301" r:id="rId18"/>
    <p:sldId id="303" r:id="rId19"/>
    <p:sldId id="302" r:id="rId20"/>
    <p:sldId id="300" r:id="rId21"/>
    <p:sldId id="305" r:id="rId22"/>
    <p:sldId id="2146847538" r:id="rId23"/>
    <p:sldId id="2146847539" r:id="rId24"/>
    <p:sldId id="2146847590" r:id="rId25"/>
    <p:sldId id="2146847540" r:id="rId26"/>
    <p:sldId id="306" r:id="rId27"/>
    <p:sldId id="2146847588" r:id="rId28"/>
    <p:sldId id="2146847589" r:id="rId29"/>
    <p:sldId id="2146847541" r:id="rId30"/>
    <p:sldId id="2146847542" r:id="rId31"/>
    <p:sldId id="2146847543" r:id="rId32"/>
    <p:sldId id="2146847544" r:id="rId33"/>
    <p:sldId id="2146847545" r:id="rId34"/>
    <p:sldId id="2146847546" r:id="rId35"/>
    <p:sldId id="2146847547" r:id="rId36"/>
    <p:sldId id="2146847549" r:id="rId37"/>
    <p:sldId id="2146847550" r:id="rId38"/>
    <p:sldId id="2146847551" r:id="rId39"/>
    <p:sldId id="2146847552" r:id="rId40"/>
    <p:sldId id="2146847554" r:id="rId41"/>
    <p:sldId id="2146847555" r:id="rId42"/>
    <p:sldId id="2146847556" r:id="rId43"/>
    <p:sldId id="2146847557" r:id="rId44"/>
    <p:sldId id="2146847593" r:id="rId45"/>
    <p:sldId id="2146847559" r:id="rId46"/>
    <p:sldId id="2146847560" r:id="rId47"/>
    <p:sldId id="2146847504" r:id="rId48"/>
    <p:sldId id="2146847591" r:id="rId49"/>
    <p:sldId id="2146847506" r:id="rId50"/>
    <p:sldId id="2146847561" r:id="rId51"/>
    <p:sldId id="2146847592" r:id="rId52"/>
    <p:sldId id="2146847562" r:id="rId53"/>
    <p:sldId id="2146847563" r:id="rId54"/>
    <p:sldId id="2146847533" r:id="rId55"/>
    <p:sldId id="2146847564" r:id="rId56"/>
    <p:sldId id="2146847502" r:id="rId57"/>
    <p:sldId id="2146847565" r:id="rId58"/>
    <p:sldId id="2146847576" r:id="rId59"/>
    <p:sldId id="2146847577" r:id="rId60"/>
    <p:sldId id="2146847578" r:id="rId61"/>
    <p:sldId id="2146847579" r:id="rId62"/>
    <p:sldId id="2146847580" r:id="rId63"/>
    <p:sldId id="2146847581" r:id="rId64"/>
    <p:sldId id="2146847582" r:id="rId65"/>
    <p:sldId id="2146847583" r:id="rId66"/>
    <p:sldId id="2146847584" r:id="rId67"/>
    <p:sldId id="2146847585" r:id="rId68"/>
    <p:sldId id="2146847586" r:id="rId69"/>
  </p:sldIdLst>
  <p:sldSz cx="9906000" cy="6858000" type="A4"/>
  <p:notesSz cx="6797675" cy="9928225"/>
  <p:custDataLst>
    <p:tags r:id="rId72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A" userId="Author" providerId="AD"/>
  <p188:author id="{D5EF0E4D-C99B-9BFB-7950-AFA1E73CB907}" name="Catarina Ventura" initials="CV" userId="clgCAneAcqVaT36vHjgJNiaXoskptfmWeBylcRmkiJ0=" providerId="None"/>
  <p188:author id="{C594BECD-ABC9-870E-A95E-2A05605AB8DC}" name="Marek Antolik" initials="MA" userId="ZXbxt50ZBKDSi2wjCwf56r66d5FWL8P8GdTPj942Nl4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hiddenSlides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3366FF"/>
    <a:srgbClr val="FF7E79"/>
    <a:srgbClr val="009644"/>
    <a:srgbClr val="0100FE"/>
    <a:srgbClr val="388BD0"/>
    <a:srgbClr val="787F04"/>
    <a:srgbClr val="8BB88D"/>
    <a:srgbClr val="B798CF"/>
    <a:srgbClr val="32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DE884F-FA7D-487A-B2E6-AE4D597C96C2}" v="2" dt="2024-07-29T14:05:30.005"/>
    <p1510:client id="{7D95E67E-D203-4805-B2E9-E72A9EDC8599}" v="5" dt="2024-07-30T07:41:42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99" autoAdjust="0"/>
    <p:restoredTop sz="93557" autoAdjust="0"/>
  </p:normalViewPr>
  <p:slideViewPr>
    <p:cSldViewPr snapToGrid="0">
      <p:cViewPr varScale="1">
        <p:scale>
          <a:sx n="121" d="100"/>
          <a:sy n="121" d="100"/>
        </p:scale>
        <p:origin x="528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782" y="127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79" Type="http://schemas.microsoft.com/office/2018/10/relationships/authors" Target="author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notesMaster" Target="notesMasters/notesMaster1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commentAuthors" Target="commentAuthors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841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6125"/>
            <a:ext cx="537527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</p:spTree>
    <p:extLst>
      <p:ext uri="{BB962C8B-B14F-4D97-AF65-F5344CB8AC3E}">
        <p14:creationId xmlns:p14="http://schemas.microsoft.com/office/powerpoint/2010/main" val="20380264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001420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6890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3416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5869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488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89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9331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801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0208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4118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267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6449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4294967295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116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13" Type="http://schemas.openxmlformats.org/officeDocument/2006/relationships/image" Target="../media/image14.jpeg"/><Relationship Id="rId1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jpeg"/><Relationship Id="rId16" Type="http://schemas.openxmlformats.org/officeDocument/2006/relationships/image" Target="../media/image1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13" Type="http://schemas.openxmlformats.org/officeDocument/2006/relationships/image" Target="../media/image14.jpeg"/><Relationship Id="rId18" Type="http://schemas.openxmlformats.org/officeDocument/2006/relationships/image" Target="../media/image19.svg"/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image" Target="../media/image3.jpeg"/><Relationship Id="rId16" Type="http://schemas.openxmlformats.org/officeDocument/2006/relationships/image" Target="../media/image17.sv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e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jp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64000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</a:t>
            </a:r>
            <a:r>
              <a:rPr lang="en-US"/>
              <a:t>edit Descrip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/>
          <a:lstStyle>
            <a:lvl1pPr>
              <a:defRPr b="0" i="0">
                <a:solidFill>
                  <a:srgbClr val="3366FF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[Add text]</a:t>
            </a:r>
          </a:p>
          <a:p>
            <a:pPr lvl="2"/>
            <a:r>
              <a:rPr lang="en-US" dirty="0"/>
              <a:t>[Add text]</a:t>
            </a:r>
          </a:p>
          <a:p>
            <a:pPr lvl="3"/>
            <a:r>
              <a:rPr lang="en-US" dirty="0"/>
              <a:t>[Add text]</a:t>
            </a:r>
            <a:endParaRPr lang="nl-NL" dirty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163FFC53-B4C8-3948-9F3E-8E9AA98983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1196366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6798796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376894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3366FF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 dirty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36FB24C9-4EA8-1C44-B915-5E9285627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843459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926168" y="2912663"/>
            <a:ext cx="7395317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322"/>
            <a:ext cx="7395317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3366FF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of the meeting</a:t>
            </a:r>
          </a:p>
        </p:txBody>
      </p:sp>
      <p:grpSp>
        <p:nvGrpSpPr>
          <p:cNvPr id="161" name="Graphic 3">
            <a:extLst>
              <a:ext uri="{FF2B5EF4-FFF2-40B4-BE49-F238E27FC236}">
                <a16:creationId xmlns:a16="http://schemas.microsoft.com/office/drawing/2014/main" id="{0CD8ADA5-8F92-4554-B026-77F47736CA6D}"/>
              </a:ext>
            </a:extLst>
          </p:cNvPr>
          <p:cNvGrpSpPr>
            <a:grpSpLocks/>
          </p:cNvGrpSpPr>
          <p:nvPr userDrawn="1"/>
        </p:nvGrpSpPr>
        <p:grpSpPr>
          <a:xfrm>
            <a:off x="4830577" y="2379445"/>
            <a:ext cx="5580000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4E29C2D3-A23A-475E-ADFD-E18D9CA663A9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34AE2FD-7B38-405F-825B-32C4DFBE338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7544EF93-D6DB-4383-8F27-964E55DFD859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51E76D50-2021-4BFC-9880-8D03EC62ECC1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2E9D3B00-85FC-4691-A0E3-08835F15F394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EC0746B-8391-4A6E-84B9-4FCD93197C17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003148F5-74A7-44E6-9797-EA3C6C4F2724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7F547AD2-0592-4BBE-8DAA-E39DA7FA4765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570D6ED2-D417-4439-9C27-7A1895C9117A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FDE50500-F2AB-450F-908F-5EF21B38E96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884C6493-08C8-4679-9200-FD8247C1B096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5BDA4D17-B2AC-48E6-ADE4-0905618EB51A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E1943416-4C7E-481A-8D67-5886E7EE0068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7B262B4E-CCF8-48FB-BAC8-633C35083B45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05145005-D286-4846-8652-53F5150847B3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BBE050C0-428D-4917-B6FA-0476A9EBEB9E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8B9E31CB-38FF-4E31-A160-19C27FDDEC9A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2104DE44-BFDE-4BFD-A680-43AF552CD7E0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E9425343-BE95-4DEA-85AD-C655A6887FDE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C26F890-1BF5-4511-A1AD-26714D9D48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621359D7-1EE5-4D39-BB9C-08FF8CB994F2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4CF09B19-85C5-42E8-A912-AF948F6D3DB9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76151290-266A-4468-B6E6-919E9BE7918C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7489208B-85B7-4E6D-85E1-FD125010F0CB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3F8290F0-D778-4AE7-8E10-FFFF4BC974E4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37F892D6-1BA7-43F9-A999-76BCDBE7D53A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84BCE80F-83C1-44F5-9FE1-16FA0C5C83C7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3B32754D-3E5F-4015-B2AA-C0AF959A2E66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957085BC-09FE-4530-8928-A158CE34019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0175BE5F-38C5-471D-9653-1F23F877B7AF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FC9A18B-BCB3-4C5B-8A90-7CD820B7456E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D79E45CE-F531-430F-A611-EFC1194E3BFE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FDE15936-D8D8-440F-BA99-7BB8F07288B1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E3C5FF34-A78C-4467-846C-713CB41EAF5B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277F4E04-A131-42C8-A18A-6BF1E68E9761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8689E83A-946B-4ABB-8201-E09BE6568FDA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DC63CD5D-D5F2-4A34-8958-0A5B571439E7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3AE89A28-1388-4F7E-883A-191A136A889D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F50403AD-6617-4BA1-BC4B-2589D5F0A0BF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BA34FA4D-9EFF-4AEB-B417-247C1C1C3D6D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53289D53-DB1C-467C-A726-63E1101D03BE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7C5C6DD8-D050-4F38-9E63-4C0199D6DC1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7650D9E6-1C8E-4631-96B8-25B14CA16043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FBF9121E-EF86-4F7A-9BCB-15FCED4340BD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7997A310-2F48-4B8C-BA5A-FDFE924A1D01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9D6DE197-1962-4681-BB29-003127D8E663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7FD5173B-D8BE-43D7-B44F-51ED959ED84A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E1168188-5084-486D-BD85-EBD8287FA20A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1F154C30-B0BC-4216-8E39-C52393F48F52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BEF1A51A-4CDC-4918-922A-8E42BA21095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01478734-0AC6-49AA-BF32-5CA553A98943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164155F0-7259-0083-BF71-43D1E67CCC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062" y="5137252"/>
            <a:ext cx="814736" cy="3059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F950830-2BF7-C01D-4F0A-2E779F7D92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7" y="4216462"/>
            <a:ext cx="663210" cy="5296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F5D7B02-2C89-8B56-D153-D75A4FB6980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17253" y="2421002"/>
            <a:ext cx="670193" cy="3227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AD0BF7-9004-357E-A3C5-901E0E39215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9456" y="3550937"/>
            <a:ext cx="648702" cy="325052"/>
          </a:xfrm>
          <a:prstGeom prst="rect">
            <a:avLst/>
          </a:prstGeom>
        </p:spPr>
      </p:pic>
      <p:pic>
        <p:nvPicPr>
          <p:cNvPr id="6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07922BA7-FFCA-9BB3-353C-E4A1D55E1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63" y="5392629"/>
            <a:ext cx="834236" cy="1647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2105E6-8F9B-E326-5E91-22D6CDB2E1B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9971" y="2147510"/>
            <a:ext cx="606064" cy="37947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BEF42A-4B4F-E77B-A2A5-D523BB14C7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133792" y="2752294"/>
            <a:ext cx="631011" cy="2539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360BB9-91EB-EFE7-F9C6-2939B4D04B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698332"/>
            <a:ext cx="592836" cy="1965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E4C7996-BCB2-30BE-DEDB-5CCCCC5030C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7703" y="5476257"/>
            <a:ext cx="633790" cy="3961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0412DA-EBD7-8569-1175-50E3D515EB6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3955" y="3158657"/>
            <a:ext cx="396152" cy="3664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E1954F-3621-1EBD-580C-11A3A5CBF89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4830" y="4088565"/>
            <a:ext cx="718857" cy="3450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827105-5CD7-11E1-9836-7A9404AC8961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16480" y="2964886"/>
            <a:ext cx="762321" cy="3586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4A38CAF-3C17-5297-D3D2-D54B6C8915C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05062" y="1981362"/>
            <a:ext cx="833968" cy="30596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93A9A6F-A898-903D-D215-32509F4D248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0054" y="4959290"/>
            <a:ext cx="819253" cy="15565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0B262765-BC13-9D6F-559A-F100D34D3D4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6101" y="3678056"/>
            <a:ext cx="606064" cy="23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56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800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3366FF"/>
                </a:solidFill>
              </a:defRPr>
            </a:lvl1pPr>
          </a:lstStyle>
          <a:p>
            <a:pPr lvl="0"/>
            <a:r>
              <a:rPr lang="en-US" dirty="0"/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4264D4-317B-4406-0E9D-8DEB027A8E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5062" y="5137252"/>
            <a:ext cx="814736" cy="3059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8EE37A-2422-A86F-729B-5B7D9C6D4A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527" y="4216462"/>
            <a:ext cx="663210" cy="5296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4ED124-F29B-282C-9F84-C24C2D907BB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317253" y="2421002"/>
            <a:ext cx="670193" cy="3227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797F9C4-914E-DC0F-82B3-E8B560F359B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9456" y="3550937"/>
            <a:ext cx="648702" cy="325052"/>
          </a:xfrm>
          <a:prstGeom prst="rect">
            <a:avLst/>
          </a:prstGeom>
        </p:spPr>
      </p:pic>
      <p:pic>
        <p:nvPicPr>
          <p:cNvPr id="7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F393F0C4-DCF2-7D14-C213-9DE50F5B7D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63" y="5392629"/>
            <a:ext cx="834236" cy="1647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35160A-7EE8-134D-4A30-AD3A146195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39971" y="2147510"/>
            <a:ext cx="606064" cy="37947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A4312E9-EFAD-0041-8647-FCDF261C32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133792" y="2752294"/>
            <a:ext cx="631011" cy="2539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D97D21-D5C4-9A59-B756-F0856003149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99" y="4698332"/>
            <a:ext cx="592836" cy="19659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8EDDE9-9137-BD8C-4DE2-0DBC47DCE5F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87703" y="5476257"/>
            <a:ext cx="633790" cy="39611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D70638-64A3-E6E4-9F79-BDA22701787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3955" y="3158657"/>
            <a:ext cx="396152" cy="366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0B8C71-9E4A-38B7-5406-6E00917DA2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24830" y="4088565"/>
            <a:ext cx="718857" cy="34504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83AC33F-8F81-0DD6-930C-F3AC510A071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16480" y="2964886"/>
            <a:ext cx="762321" cy="3586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DDD5D35-CFB5-E798-1FB7-90824BF4F33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05062" y="1981362"/>
            <a:ext cx="833968" cy="30596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53F3298-009E-9C25-146E-637B1A85BA5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0054" y="4959290"/>
            <a:ext cx="819253" cy="15565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67D797F-3DAA-DA4C-C2E8-64287730C811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16101" y="3678056"/>
            <a:ext cx="606064" cy="233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70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54688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0" y="108000"/>
            <a:ext cx="8543925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80000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[Add text]</a:t>
            </a:r>
          </a:p>
          <a:p>
            <a:pPr lvl="2"/>
            <a:r>
              <a:rPr lang="en-US" dirty="0"/>
              <a:t>[Add text]</a:t>
            </a:r>
          </a:p>
          <a:p>
            <a:pPr lvl="3"/>
            <a:r>
              <a:rPr lang="en-US" dirty="0"/>
              <a:t>[Add text]</a:t>
            </a:r>
          </a:p>
        </p:txBody>
      </p:sp>
      <p:grpSp>
        <p:nvGrpSpPr>
          <p:cNvPr id="45" name="Graphic 3">
            <a:extLst>
              <a:ext uri="{FF2B5EF4-FFF2-40B4-BE49-F238E27FC236}">
                <a16:creationId xmlns:a16="http://schemas.microsoft.com/office/drawing/2014/main" id="{56B033C0-3928-468B-8CF6-1496F52E071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28000" y="20857"/>
            <a:ext cx="857650" cy="792366"/>
            <a:chOff x="66025" y="-34306"/>
            <a:chExt cx="6381750" cy="5895975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FFBD3D4-4671-45AB-B604-0CEAAC63B7C9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0E968C3-6094-4563-9C29-65EB27A50039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5A31E9F-A94F-45F8-BF93-D84A8C6DA807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2DB8481-8B23-479A-9514-240E6508D49C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0BC56EA-7519-4612-A39E-81EBB7DD740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3C56C61-7E4E-4C7A-8C28-8EC4584AD35D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805347C-EEE8-4911-8713-96A3756D3ABD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9ADC9D-67CE-485B-9843-09372F3614C1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47B7A1B4-FD2D-44A8-A32B-03E30BD09CF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77E858F-FC3D-459D-84E3-39455C9A7343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D18E699-492E-4A0A-8F83-20CA3D9275C1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57D48E2-D36D-4C65-8FB4-4F27AF98A90F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CC95BA71-F64B-4E49-913A-83C7DB7E2B10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EA42EC0-CC00-472D-9C59-C262992F99D9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D8036831-E3F9-413C-82F8-1AAE8176253E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7E700EE-8996-4E37-AAEB-1EB990B7019B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6413D5FD-88A1-4E99-8BF3-01C6F0698E93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11FD7DF-3CC7-4E66-9DD8-A15D26C32876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533A543-785C-48BD-ADF0-7CBB79F446CD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F251ECA-FFEA-4F2C-9464-2E5641CE9989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8B987F5-EBC0-43E8-B606-0AC7F7AE8A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BAD3166-2690-4E5E-BEB1-1C4DA794B9C2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F5D6D0C-AA48-4000-8CF4-536B6532A88B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E9D3C97-CCCA-4A9A-A7CB-D3860EDBD247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B67E3B8-E59E-4483-8281-B69EA50C41F3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8A3E5852-F6AA-45E3-A2C0-3E71F79A6554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F4DA893-5D5A-4489-A2A8-083227624CFF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B519E33-07A0-4069-ACAA-B67B710CD6A1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1C386AB-91B8-4AAD-8BEE-4DEC5D3BFA02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DBE45A6-1754-4E48-8162-FDC37FDF368B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62F51B9B-4E03-4045-B10D-5D366682E2F4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1A71930-64E4-44CF-BCC5-2C1AA1D05337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DB9E8EB-2B5D-4391-9D44-13E2D271D45A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A319A01-1506-48E7-8264-66BC09F1C34C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CC3D5D9-F647-479C-8F4E-492E0219DACE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22FCF579-D6C2-4B89-B667-A6F686154050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B5151B4-4356-44BA-84DE-1C04644E6D16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196E3EC-3083-4807-880D-1039E101BB0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C6862D5D-B4FD-494B-8DB6-CCE1245FA70B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BDEF878B-2EEC-44BB-BEB4-3E3EBB217931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15E406B-7ED7-4D8F-8453-9FB621679AD5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0100FE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DA9CE58-0B13-4CCA-AEB4-660DF867DAE3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1C07194-EC3B-408A-AFC7-945F624F9FBE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6B2906E9-2D4B-4CB3-AE59-72F915171DA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51D0CF0F-4233-4970-B46B-65DA292542AA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F365C1AE-BE6C-4275-82BA-282E4009909E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B3D20F9-63D4-4DC8-9C2C-A0EE3A910E57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AC70116A-7652-4811-8D66-234C32436A2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3880A1B-9EB4-45B9-9C91-A7B0300BDEE2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5BC2B00C-9F8A-4C22-AADA-E14BA6C13698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A918E8A8-378C-4B35-8CB9-04D03B86D1E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1" rIns="91440" bIns="45721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NL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628CF29-3142-8B4B-BA3F-FDB831D3C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999" y="6553200"/>
            <a:ext cx="3343275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ore | DD/MM/YYYY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2314487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32" r:id="rId1"/>
    <p:sldLayoutId id="2147488733" r:id="rId2"/>
    <p:sldLayoutId id="2147488734" r:id="rId3"/>
    <p:sldLayoutId id="2147488735" r:id="rId4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3366FF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3366FF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0100FE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0" userDrawn="1">
          <p15:clr>
            <a:srgbClr val="F26B43"/>
          </p15:clr>
        </p15:guide>
        <p15:guide id="2" pos="6000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149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32.png"/><Relationship Id="rId4" Type="http://schemas.openxmlformats.org/officeDocument/2006/relationships/image" Target="../media/image3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34.png"/><Relationship Id="rId4" Type="http://schemas.openxmlformats.org/officeDocument/2006/relationships/image" Target="../media/image3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35.png"/><Relationship Id="rId4" Type="http://schemas.openxmlformats.org/officeDocument/2006/relationships/image" Target="../media/image3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36.png"/><Relationship Id="rId4" Type="http://schemas.openxmlformats.org/officeDocument/2006/relationships/image" Target="../media/image3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jao.eu/sites/default/files/2023-06/Reading%20Guide_Operational%20KPIs_IDCC.pdf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s://parallelrun-publicationtool.jao.eu/coreID/home" TargetMode="Externa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37.png"/><Relationship Id="rId4" Type="http://schemas.openxmlformats.org/officeDocument/2006/relationships/image" Target="../media/image3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38.png"/><Relationship Id="rId4" Type="http://schemas.openxmlformats.org/officeDocument/2006/relationships/image" Target="../media/image3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39.png"/><Relationship Id="rId4" Type="http://schemas.openxmlformats.org/officeDocument/2006/relationships/image" Target="../media/image3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40.png"/><Relationship Id="rId4" Type="http://schemas.openxmlformats.org/officeDocument/2006/relationships/image" Target="../media/image3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41.png"/><Relationship Id="rId4" Type="http://schemas.openxmlformats.org/officeDocument/2006/relationships/image" Target="../media/image3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42.png"/><Relationship Id="rId4" Type="http://schemas.openxmlformats.org/officeDocument/2006/relationships/image" Target="../media/image3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43.png"/><Relationship Id="rId4" Type="http://schemas.openxmlformats.org/officeDocument/2006/relationships/image" Target="../media/image3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44.png"/><Relationship Id="rId4" Type="http://schemas.openxmlformats.org/officeDocument/2006/relationships/image" Target="../media/image3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45.png"/><Relationship Id="rId4" Type="http://schemas.openxmlformats.org/officeDocument/2006/relationships/image" Target="../media/image30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46.png"/><Relationship Id="rId4" Type="http://schemas.openxmlformats.org/officeDocument/2006/relationships/image" Target="../media/image3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5" Type="http://schemas.openxmlformats.org/officeDocument/2006/relationships/image" Target="../media/image47.png"/><Relationship Id="rId4" Type="http://schemas.openxmlformats.org/officeDocument/2006/relationships/image" Target="../media/image3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48.png"/><Relationship Id="rId4" Type="http://schemas.openxmlformats.org/officeDocument/2006/relationships/image" Target="../media/image30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49.png"/><Relationship Id="rId4" Type="http://schemas.openxmlformats.org/officeDocument/2006/relationships/image" Target="../media/image30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5" Type="http://schemas.openxmlformats.org/officeDocument/2006/relationships/image" Target="../media/image50.png"/><Relationship Id="rId4" Type="http://schemas.openxmlformats.org/officeDocument/2006/relationships/image" Target="../media/image30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5" Type="http://schemas.openxmlformats.org/officeDocument/2006/relationships/image" Target="../media/image51.png"/><Relationship Id="rId4" Type="http://schemas.openxmlformats.org/officeDocument/2006/relationships/image" Target="../media/image30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5" Type="http://schemas.openxmlformats.org/officeDocument/2006/relationships/image" Target="../media/image52.png"/><Relationship Id="rId4" Type="http://schemas.openxmlformats.org/officeDocument/2006/relationships/image" Target="../media/image30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5" Type="http://schemas.openxmlformats.org/officeDocument/2006/relationships/image" Target="../media/image53.png"/><Relationship Id="rId4" Type="http://schemas.openxmlformats.org/officeDocument/2006/relationships/image" Target="../media/image3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Relationship Id="rId5" Type="http://schemas.openxmlformats.org/officeDocument/2006/relationships/image" Target="../media/image54.png"/><Relationship Id="rId4" Type="http://schemas.openxmlformats.org/officeDocument/2006/relationships/image" Target="../media/image30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5.xml"/><Relationship Id="rId5" Type="http://schemas.openxmlformats.org/officeDocument/2006/relationships/image" Target="../media/image55.png"/><Relationship Id="rId4" Type="http://schemas.openxmlformats.org/officeDocument/2006/relationships/image" Target="../media/image3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5" Type="http://schemas.openxmlformats.org/officeDocument/2006/relationships/image" Target="../media/image56.png"/><Relationship Id="rId4" Type="http://schemas.openxmlformats.org/officeDocument/2006/relationships/image" Target="../media/image3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6.bin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8.xml"/><Relationship Id="rId5" Type="http://schemas.openxmlformats.org/officeDocument/2006/relationships/image" Target="../media/image62.png"/><Relationship Id="rId4" Type="http://schemas.openxmlformats.org/officeDocument/2006/relationships/image" Target="../media/image61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9.xml"/><Relationship Id="rId5" Type="http://schemas.openxmlformats.org/officeDocument/2006/relationships/image" Target="../media/image63.png"/><Relationship Id="rId4" Type="http://schemas.openxmlformats.org/officeDocument/2006/relationships/image" Target="../media/image61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5" Type="http://schemas.openxmlformats.org/officeDocument/2006/relationships/image" Target="../media/image64.png"/><Relationship Id="rId4" Type="http://schemas.openxmlformats.org/officeDocument/2006/relationships/image" Target="../media/image6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1.xml"/><Relationship Id="rId5" Type="http://schemas.openxmlformats.org/officeDocument/2006/relationships/image" Target="../media/image65.png"/><Relationship Id="rId4" Type="http://schemas.openxmlformats.org/officeDocument/2006/relationships/image" Target="../media/image6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66.png"/><Relationship Id="rId4" Type="http://schemas.openxmlformats.org/officeDocument/2006/relationships/image" Target="../media/image61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5" Type="http://schemas.openxmlformats.org/officeDocument/2006/relationships/image" Target="../media/image67.png"/><Relationship Id="rId4" Type="http://schemas.openxmlformats.org/officeDocument/2006/relationships/image" Target="../media/image6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Relationship Id="rId5" Type="http://schemas.openxmlformats.org/officeDocument/2006/relationships/image" Target="../media/image68.png"/><Relationship Id="rId4" Type="http://schemas.openxmlformats.org/officeDocument/2006/relationships/image" Target="../media/image61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5" Type="http://schemas.openxmlformats.org/officeDocument/2006/relationships/image" Target="../media/image69.png"/><Relationship Id="rId4" Type="http://schemas.openxmlformats.org/officeDocument/2006/relationships/image" Target="../media/image61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5" Type="http://schemas.openxmlformats.org/officeDocument/2006/relationships/image" Target="../media/image70.png"/><Relationship Id="rId4" Type="http://schemas.openxmlformats.org/officeDocument/2006/relationships/image" Target="../media/image61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7.xml"/><Relationship Id="rId5" Type="http://schemas.openxmlformats.org/officeDocument/2006/relationships/image" Target="../media/image71.png"/><Relationship Id="rId4" Type="http://schemas.openxmlformats.org/officeDocument/2006/relationships/image" Target="../media/image61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5" Type="http://schemas.openxmlformats.org/officeDocument/2006/relationships/image" Target="../media/image72.png"/><Relationship Id="rId4" Type="http://schemas.openxmlformats.org/officeDocument/2006/relationships/image" Target="../media/image61.e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Relationship Id="rId5" Type="http://schemas.openxmlformats.org/officeDocument/2006/relationships/image" Target="../media/image73.png"/><Relationship Id="rId4" Type="http://schemas.openxmlformats.org/officeDocument/2006/relationships/image" Target="../media/image61.e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0.xml"/><Relationship Id="rId5" Type="http://schemas.openxmlformats.org/officeDocument/2006/relationships/image" Target="../media/image74.png"/><Relationship Id="rId4" Type="http://schemas.openxmlformats.org/officeDocument/2006/relationships/image" Target="../media/image61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5" Type="http://schemas.openxmlformats.org/officeDocument/2006/relationships/image" Target="../media/image75.png"/><Relationship Id="rId4" Type="http://schemas.openxmlformats.org/officeDocument/2006/relationships/image" Target="../media/image61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Relationship Id="rId5" Type="http://schemas.openxmlformats.org/officeDocument/2006/relationships/image" Target="../media/image76.png"/><Relationship Id="rId4" Type="http://schemas.openxmlformats.org/officeDocument/2006/relationships/image" Target="../media/image61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3.xml"/><Relationship Id="rId5" Type="http://schemas.openxmlformats.org/officeDocument/2006/relationships/image" Target="../media/image77.png"/><Relationship Id="rId4" Type="http://schemas.openxmlformats.org/officeDocument/2006/relationships/image" Target="../media/image6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Relationship Id="rId5" Type="http://schemas.openxmlformats.org/officeDocument/2006/relationships/image" Target="../media/image78.png"/><Relationship Id="rId4" Type="http://schemas.openxmlformats.org/officeDocument/2006/relationships/image" Target="../media/image61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5.xml"/><Relationship Id="rId5" Type="http://schemas.openxmlformats.org/officeDocument/2006/relationships/image" Target="../media/image79.png"/><Relationship Id="rId4" Type="http://schemas.openxmlformats.org/officeDocument/2006/relationships/image" Target="../media/image61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5" Type="http://schemas.openxmlformats.org/officeDocument/2006/relationships/image" Target="../media/image80.png"/><Relationship Id="rId4" Type="http://schemas.openxmlformats.org/officeDocument/2006/relationships/image" Target="../media/image61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7.xml"/><Relationship Id="rId5" Type="http://schemas.openxmlformats.org/officeDocument/2006/relationships/image" Target="../media/image81.png"/><Relationship Id="rId4" Type="http://schemas.openxmlformats.org/officeDocument/2006/relationships/image" Target="../media/image61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8.xml"/><Relationship Id="rId5" Type="http://schemas.openxmlformats.org/officeDocument/2006/relationships/image" Target="../media/image82.png"/><Relationship Id="rId4" Type="http://schemas.openxmlformats.org/officeDocument/2006/relationships/image" Target="../media/image61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9.xml"/><Relationship Id="rId5" Type="http://schemas.openxmlformats.org/officeDocument/2006/relationships/image" Target="../media/image83.png"/><Relationship Id="rId4" Type="http://schemas.openxmlformats.org/officeDocument/2006/relationships/image" Target="../media/image6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25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External Parallel Run </a:t>
            </a:r>
            <a:r>
              <a:rPr lang="sk-SK" dirty="0"/>
              <a:t>KPI Report</a:t>
            </a:r>
            <a:endParaRPr lang="nl-NL" dirty="0"/>
          </a:p>
          <a:p>
            <a:r>
              <a:rPr lang="sk-SK" dirty="0">
                <a:ea typeface="Arial Unicode MS"/>
                <a:cs typeface="Arial"/>
              </a:rPr>
              <a:t>01/</a:t>
            </a:r>
            <a:r>
              <a:rPr lang="fr-BE" dirty="0">
                <a:ea typeface="Arial Unicode MS"/>
                <a:cs typeface="Arial"/>
              </a:rPr>
              <a:t>03</a:t>
            </a:r>
            <a:r>
              <a:rPr lang="sk-SK" dirty="0">
                <a:ea typeface="Arial Unicode MS"/>
                <a:cs typeface="Arial"/>
              </a:rPr>
              <a:t>/202</a:t>
            </a:r>
            <a:r>
              <a:rPr lang="en-GB" dirty="0">
                <a:ea typeface="Arial Unicode MS"/>
                <a:cs typeface="Arial"/>
              </a:rPr>
              <a:t>4</a:t>
            </a:r>
            <a:r>
              <a:rPr lang="sk-SK">
                <a:ea typeface="Arial Unicode MS"/>
                <a:cs typeface="Arial"/>
              </a:rPr>
              <a:t> – 28/</a:t>
            </a:r>
            <a:r>
              <a:rPr lang="fr-BE">
                <a:ea typeface="Arial Unicode MS"/>
                <a:cs typeface="Arial"/>
              </a:rPr>
              <a:t>05/</a:t>
            </a:r>
            <a:r>
              <a:rPr lang="sk-SK">
                <a:ea typeface="Arial Unicode MS"/>
                <a:cs typeface="Arial"/>
              </a:rPr>
              <a:t>202</a:t>
            </a:r>
            <a:r>
              <a:rPr lang="en-GB">
                <a:ea typeface="Arial Unicode MS"/>
                <a:cs typeface="Arial"/>
              </a:rPr>
              <a:t>4</a:t>
            </a:r>
            <a:endParaRPr lang="en-US">
              <a:ea typeface="Arial Unicode MS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l-NL" dirty="0"/>
              <a:t>Core IDCC(b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775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B30014B-7761-4CC6-87BD-DEF6DFC3B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781F92F7-211B-49A7-9669-D729AE8737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12" name="Picture 11" descr="A screenshot of a graph&#10;&#10;Description automatically generated">
            <a:extLst>
              <a:ext uri="{FF2B5EF4-FFF2-40B4-BE49-F238E27FC236}">
                <a16:creationId xmlns:a16="http://schemas.microsoft.com/office/drawing/2014/main" id="{A3435CD7-1D69-F446-AA6F-583D7CC74C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477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5CB8A97-92B1-48FF-AFC0-C3294457DC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942D9D94-B85A-4C5A-AC0E-FDADC308100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line of orange and white lines&#10;&#10;Description automatically generated with medium confidence">
            <a:extLst>
              <a:ext uri="{FF2B5EF4-FFF2-40B4-BE49-F238E27FC236}">
                <a16:creationId xmlns:a16="http://schemas.microsoft.com/office/drawing/2014/main" id="{5BFFE05C-8400-07B0-1731-B937F5EB1C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979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C71732C-09B6-4BBA-BAED-6DA893868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F230601-B994-4F15-9527-50791F9A3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8" name="Picture 7" descr="A screenshot of a graph&#10;&#10;Description automatically generated">
            <a:extLst>
              <a:ext uri="{FF2B5EF4-FFF2-40B4-BE49-F238E27FC236}">
                <a16:creationId xmlns:a16="http://schemas.microsoft.com/office/drawing/2014/main" id="{DC4ACC7D-39A7-387B-59EB-C788EAD67C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816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2AB1051-A329-495E-A053-4C9FF48DA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3FECC066-DFF0-442F-B33A-CCD8FD309E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0AD399EC-18EC-C0AC-01E6-2836C7F7B3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4413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D24D323-C07F-982B-F2FB-A7F2DB0036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16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4D323-C07F-982B-F2FB-A7F2DB0036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48851106-4E2D-4DEF-BB72-2D96A57D9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4FC6031-B3DA-40BC-B5D7-660FD3B4F4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02EA2B39-2D96-2BA8-C385-A9D9499658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147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F0932E3-E5C0-6748-CACC-640490E2A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754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932E3-E5C0-6748-CACC-640490E2A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DC094EEA-0DF3-4310-9115-A8F2FFF5D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A0DE8D1-36C4-47F9-8E1A-296185374F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E89AABEC-0AE2-91BA-1EF3-519C75120E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878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6FFAC32-30A4-E500-A87D-2CC8203245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11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FAC32-30A4-E500-A87D-2CC820324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DF019515-21D0-4670-A15E-D82FC6576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D3BE7C3B-FCE2-4076-9D41-6C0F996A57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screen shot of a computer&#10;&#10;Description automatically generated">
            <a:extLst>
              <a:ext uri="{FF2B5EF4-FFF2-40B4-BE49-F238E27FC236}">
                <a16:creationId xmlns:a16="http://schemas.microsoft.com/office/drawing/2014/main" id="{1A1B0BDB-A76E-3795-C462-2C1DC1AEC3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787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9BAA62-A6EE-F2B5-CCA4-3C215AB47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87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9BAA62-A6EE-F2B5-CCA4-3C215AB47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B686E5F9-32E1-4C7B-A9C6-87774C19C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BD7056B4-36FA-450A-B7CD-16E6227DD1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6" name="Picture 5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7FD299AC-B6B2-31F8-4289-AF369DF9C2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788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A10F2E8-01C6-12A8-0788-DAD81483E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35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10F2E8-01C6-12A8-0788-DAD81483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F5947BB-B23D-46DB-ABEC-D425F3B9D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472F86E5-291D-4AB4-9E73-787D4E11DB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314D6E-3AA6-55D7-E3EA-C13FF77554AB}"/>
              </a:ext>
            </a:extLst>
          </p:cNvPr>
          <p:cNvSpPr txBox="1"/>
          <p:nvPr/>
        </p:nvSpPr>
        <p:spPr>
          <a:xfrm>
            <a:off x="4196977" y="134102"/>
            <a:ext cx="457050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n-US" sz="800" b="1" dirty="0"/>
              <a:t>Disclaimer - </a:t>
            </a:r>
            <a:r>
              <a:rPr lang="en-US" sz="800" dirty="0"/>
              <a:t>Results of the French TSO for KPI 6 (Limiting constraints of the ATC domain) should be interpreted with care, due to the dynamically changing FR CBCO ID.</a:t>
            </a:r>
          </a:p>
        </p:txBody>
      </p:sp>
      <p:pic>
        <p:nvPicPr>
          <p:cNvPr id="7" name="Picture 6" descr="A graph with orange squares&#10;&#10;Description automatically generated">
            <a:extLst>
              <a:ext uri="{FF2B5EF4-FFF2-40B4-BE49-F238E27FC236}">
                <a16:creationId xmlns:a16="http://schemas.microsoft.com/office/drawing/2014/main" id="{067ED799-59D9-94DE-A886-00B7E2E3E7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209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76CBE6-55DA-0343-E0B9-2161699EC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2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76CBE6-55DA-0343-E0B9-2161699EC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7" name="Picture 6" descr="A diagram with orange squares&#10;&#10;Description automatically generated with medium confidence">
            <a:extLst>
              <a:ext uri="{FF2B5EF4-FFF2-40B4-BE49-F238E27FC236}">
                <a16:creationId xmlns:a16="http://schemas.microsoft.com/office/drawing/2014/main" id="{05D079BF-F6F9-9538-112B-ED51151E36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2656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Context</a:t>
            </a:r>
          </a:p>
          <a:p>
            <a:pPr lvl="1"/>
            <a:r>
              <a:rPr lang="en-US" sz="1200" dirty="0">
                <a:ea typeface="Arial Unicode MS"/>
                <a:cs typeface="Arial"/>
              </a:rPr>
              <a:t>According to Article 2</a:t>
            </a:r>
            <a:r>
              <a:rPr lang="sk-SK" sz="1200" dirty="0">
                <a:ea typeface="Arial Unicode MS"/>
                <a:cs typeface="Arial"/>
              </a:rPr>
              <a:t>6</a:t>
            </a:r>
            <a:r>
              <a:rPr lang="en-US" sz="1200" dirty="0">
                <a:ea typeface="Arial Unicode MS"/>
                <a:cs typeface="Arial"/>
              </a:rPr>
              <a:t>(4) of the Core FB </a:t>
            </a:r>
            <a:r>
              <a:rPr lang="sk-SK" sz="1200" dirty="0">
                <a:ea typeface="Arial Unicode MS"/>
                <a:cs typeface="Arial"/>
              </a:rPr>
              <a:t>ID</a:t>
            </a:r>
            <a:r>
              <a:rPr lang="en-US" sz="1200" dirty="0">
                <a:ea typeface="Arial Unicode MS"/>
                <a:cs typeface="Arial"/>
              </a:rPr>
              <a:t> CCM, Core TSOs</a:t>
            </a:r>
            <a:r>
              <a:rPr lang="en-US" dirty="0">
                <a:ea typeface="Arial Unicode MS"/>
                <a:cs typeface="Arial"/>
              </a:rPr>
              <a:t> shall:</a:t>
            </a:r>
            <a:endParaRPr lang="en-US" sz="1200" dirty="0">
              <a:ea typeface="Arial Unicode MS"/>
              <a:cs typeface="Arial"/>
            </a:endParaRPr>
          </a:p>
          <a:p>
            <a:pPr lvl="2"/>
            <a:r>
              <a:rPr lang="en-US" dirty="0">
                <a:ea typeface="Arial Unicode MS"/>
                <a:cs typeface="Arial"/>
              </a:rPr>
              <a:t>continuously</a:t>
            </a:r>
            <a:r>
              <a:rPr lang="en-US" sz="1200" dirty="0">
                <a:ea typeface="Arial Unicode MS"/>
                <a:cs typeface="Arial"/>
              </a:rPr>
              <a:t> monitor the effects and the performance of the application of this methodology during the parallel run</a:t>
            </a:r>
          </a:p>
          <a:p>
            <a:pPr lvl="2"/>
            <a:r>
              <a:rPr lang="en-US" sz="1200" dirty="0">
                <a:ea typeface="Arial Unicode MS"/>
                <a:cs typeface="Arial"/>
              </a:rPr>
              <a:t>develop, in coordination with the Core regulatory authorities, the Agency and stakeholders, the monitoring and performance criteria and report on the outcome of this monitoring on quarterly basis in a report</a:t>
            </a:r>
          </a:p>
          <a:p>
            <a:pPr lvl="1">
              <a:defRPr/>
            </a:pPr>
            <a:endParaRPr lang="sk-SK" dirty="0">
              <a:ea typeface="Arial Unicode MS"/>
              <a:cs typeface="Arial"/>
            </a:endParaRPr>
          </a:p>
          <a:p>
            <a:pPr lvl="1">
              <a:defRPr/>
            </a:pPr>
            <a:r>
              <a:rPr lang="en-US" dirty="0">
                <a:ea typeface="Arial Unicode MS"/>
                <a:cs typeface="Arial"/>
              </a:rPr>
              <a:t>IDCC external // run started on 5th of December 2022. Since this business day, results of capacity calculation have been published on JAO website</a:t>
            </a:r>
            <a:r>
              <a:rPr lang="sk-SK" dirty="0">
                <a:ea typeface="Arial Unicode MS"/>
                <a:cs typeface="Arial"/>
              </a:rPr>
              <a:t> [</a:t>
            </a:r>
            <a:r>
              <a:rPr lang="sk-SK" dirty="0">
                <a:ea typeface="Arial Unicode MS"/>
                <a:cs typeface="Arial"/>
                <a:hlinkClick r:id="rId6"/>
              </a:rPr>
              <a:t>LINK</a:t>
            </a:r>
            <a:r>
              <a:rPr lang="sk-SK" dirty="0">
                <a:ea typeface="Arial Unicode MS"/>
                <a:cs typeface="Arial"/>
              </a:rPr>
              <a:t>]</a:t>
            </a:r>
            <a:endParaRPr kumimoji="0" lang="sk-SK" sz="1400" b="0" i="0" u="none" strike="noStrike" kern="0" cap="none" spc="0" normalizeH="0" baseline="0" noProof="0" dirty="0">
              <a:ln>
                <a:noFill/>
              </a:ln>
              <a:solidFill>
                <a:srgbClr val="3366FF"/>
              </a:solidFill>
              <a:effectLst/>
              <a:uLnTx/>
              <a:uFillTx/>
              <a:latin typeface="Arial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sk-SK" dirty="0">
              <a:latin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On the next slide the overview of the KPIs covered</a:t>
            </a:r>
            <a:r>
              <a:rPr lang="en-US" dirty="0">
                <a:latin typeface="Arial"/>
              </a:rPr>
              <a:t> in this KPI report is provided.</a:t>
            </a:r>
            <a:endParaRPr lang="sk-SK" dirty="0">
              <a:latin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lang="sk-SK" dirty="0">
              <a:latin typeface="Arial"/>
            </a:endParaRPr>
          </a:p>
          <a:p>
            <a:pPr marL="0" lvl="1" indent="0"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A Reading Guide with a detail description of the KPIs is also available on JAO [</a:t>
            </a:r>
            <a:r>
              <a:rPr lang="en-US" sz="1400" dirty="0">
                <a:solidFill>
                  <a:srgbClr val="3366FF"/>
                </a:solidFill>
                <a:latin typeface="Arial"/>
                <a:hlinkClick r:id="rId7"/>
              </a:rPr>
              <a:t>LINK</a:t>
            </a:r>
            <a:r>
              <a:rPr lang="en-US" sz="1400" dirty="0">
                <a:solidFill>
                  <a:srgbClr val="3366FF"/>
                </a:solidFill>
                <a:latin typeface="Arial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934731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5D54F6-BCF5-B017-9AB7-D5F01E9757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844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5D54F6-BCF5-B017-9AB7-D5F01E975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5" name="Picture 4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B059B2D9-81CF-5EA4-EEB5-AFCF316951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5632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3AB97D7-C764-7C38-E914-FC99DC11C1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92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AB97D7-C764-7C38-E914-FC99DC11C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5" name="Picture 4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AAE1F0AA-6F4E-644D-0A61-EFFE4891E0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5322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F88DEFB-BDE3-B0A0-2C9E-1D6A2F1B3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33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88DEFB-BDE3-B0A0-2C9E-1D6A2F1B3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7" name="Picture 6" descr="A graph with orange and white lines&#10;&#10;Description automatically generated">
            <a:extLst>
              <a:ext uri="{FF2B5EF4-FFF2-40B4-BE49-F238E27FC236}">
                <a16:creationId xmlns:a16="http://schemas.microsoft.com/office/drawing/2014/main" id="{912C2842-5881-EC56-750F-048ED07163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2824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CC9C8A-57A3-8D42-A5B0-3F17B2C51E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417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CC9C8A-57A3-8D42-A5B0-3F17B2C51E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7" name="Picture 6" descr="A graph with orange squares&#10;&#10;Description automatically generated">
            <a:extLst>
              <a:ext uri="{FF2B5EF4-FFF2-40B4-BE49-F238E27FC236}">
                <a16:creationId xmlns:a16="http://schemas.microsoft.com/office/drawing/2014/main" id="{1457C91E-8B70-4736-4E7B-861E72A9D97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27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5DF5ABB-03B8-5947-B6E1-C40515C1D8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07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DF5ABB-03B8-5947-B6E1-C40515C1D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7" name="Picture 6" descr="A graph with orange squares&#10;&#10;Description automatically generated">
            <a:extLst>
              <a:ext uri="{FF2B5EF4-FFF2-40B4-BE49-F238E27FC236}">
                <a16:creationId xmlns:a16="http://schemas.microsoft.com/office/drawing/2014/main" id="{44E73665-962D-E855-178F-B869CB0ECF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2497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5A8A4B3-0F58-4898-95C8-6F2E529E79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76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A8A4B3-0F58-4898-95C8-6F2E529E79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6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imiting constraints of the ATC domain​</a:t>
            </a:r>
          </a:p>
          <a:p>
            <a:endParaRPr lang="hu-HU" dirty="0"/>
          </a:p>
        </p:txBody>
      </p:sp>
      <p:pic>
        <p:nvPicPr>
          <p:cNvPr id="7" name="Picture 6" descr="A graph with orange squares&#10;&#10;Description automatically generated">
            <a:extLst>
              <a:ext uri="{FF2B5EF4-FFF2-40B4-BE49-F238E27FC236}">
                <a16:creationId xmlns:a16="http://schemas.microsoft.com/office/drawing/2014/main" id="{2C53D5CC-4478-947B-2612-CAC841CB63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911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397F294-6612-A2D8-8ABA-4E5DBEC3A5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38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97F294-6612-A2D8-8ABA-4E5DBEC3A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8C164E95-B14E-0629-DA5C-4BFEC2670F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5379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C1B6C71-C635-55E4-E89D-0914FB5413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598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1B6C71-C635-55E4-E89D-0914FB541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FDAA83A7-A343-2BE6-C014-2536D4210B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9231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CACE31-833C-F434-B719-E916086FD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367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CACE31-833C-F434-B719-E916086FD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red and black lines&#10;&#10;Description automatically generated with medium confidence">
            <a:extLst>
              <a:ext uri="{FF2B5EF4-FFF2-40B4-BE49-F238E27FC236}">
                <a16:creationId xmlns:a16="http://schemas.microsoft.com/office/drawing/2014/main" id="{E000D818-19CB-AF2D-3797-E2CC8F7D60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554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222C63-8403-75BB-0C7E-E70FB9DA62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652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222C63-8403-75BB-0C7E-E70FB9DA6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red and white lines&#10;&#10;Description automatically generated">
            <a:extLst>
              <a:ext uri="{FF2B5EF4-FFF2-40B4-BE49-F238E27FC236}">
                <a16:creationId xmlns:a16="http://schemas.microsoft.com/office/drawing/2014/main" id="{AA6DD415-06EE-797B-A364-4627EFA1DC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484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dirty="0">
                <a:ln>
                  <a:noFill/>
                </a:ln>
                <a:solidFill>
                  <a:srgbClr val="3366F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 panose="020B0604020202020204" pitchFamily="34" charset="0"/>
              </a:rPr>
              <a:t>Overview of parallel run KPI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5316350"/>
          </a:xfrm>
        </p:spPr>
        <p:txBody>
          <a:bodyPr/>
          <a:lstStyle/>
          <a:p>
            <a:pPr>
              <a:defRPr/>
            </a:pPr>
            <a:r>
              <a:rPr lang="en-US" dirty="0">
                <a:latin typeface="Arial"/>
              </a:rPr>
              <a:t>ATC related KPIs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Duration curve of Core oriented bidding zone borders with simultaneous zero (or negative) ID ATCs​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Frequency of zero </a:t>
            </a:r>
            <a:r>
              <a:rPr lang="sk-SK" dirty="0"/>
              <a:t>and </a:t>
            </a:r>
            <a:r>
              <a:rPr lang="en-US" dirty="0"/>
              <a:t>negative ID ATCs by oriented Core bidding zone border, and Core average​</a:t>
            </a:r>
          </a:p>
          <a:p>
            <a:pPr marL="508000" lvl="2" indent="-228600" fontAlgn="ctr">
              <a:buAutoNum type="arabicPeriod"/>
            </a:pPr>
            <a:r>
              <a:rPr lang="en-US" dirty="0"/>
              <a:t>Frequency of isolated BZs of zero (or negative) ID ATCs in import, export and both directions​</a:t>
            </a:r>
          </a:p>
          <a:p>
            <a:pPr marL="508000" lvl="2" indent="-228600" fontAlgn="ctr">
              <a:buFont typeface="Wingdings" panose="05000000000000000000" pitchFamily="2" charset="2"/>
              <a:buAutoNum type="arabicPeriod"/>
            </a:pPr>
            <a:r>
              <a:rPr lang="en-US" dirty="0"/>
              <a:t>Mean positive ID ATCs by oriented Core bidding zone border, and Core average​</a:t>
            </a:r>
          </a:p>
          <a:p>
            <a:pPr marL="279400" lvl="2" indent="0" fontAlgn="ctr">
              <a:buNone/>
            </a:pPr>
            <a:endParaRPr lang="en-US" sz="1100" dirty="0">
              <a:solidFill>
                <a:srgbClr val="3366FF"/>
              </a:solidFill>
              <a:latin typeface="Arial Unicode MS" charset="0"/>
              <a:ea typeface="ＭＳ Ｐゴシック" charset="0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TSOs’ adjustment after validation</a:t>
            </a:r>
          </a:p>
          <a:p>
            <a:pPr marL="508000" lvl="2" indent="-228600" fontAlgn="ctr">
              <a:buFont typeface="+mj-lt"/>
              <a:buAutoNum type="arabicPeriod" startAt="5"/>
            </a:pPr>
            <a:r>
              <a:rPr lang="en-US" dirty="0"/>
              <a:t>Share of MTUs with intervention per TSO</a:t>
            </a:r>
          </a:p>
          <a:p>
            <a:pPr marL="279400" lvl="2" indent="0" fontAlgn="ctr">
              <a:buNone/>
            </a:pPr>
            <a:endParaRPr lang="en-US" sz="1100" dirty="0">
              <a:solidFill>
                <a:srgbClr val="3366FF"/>
              </a:solidFill>
              <a:latin typeface="Arial Unicode MS" charset="0"/>
              <a:ea typeface="ＭＳ Ｐゴシック" charset="0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Limiting elements</a:t>
            </a:r>
          </a:p>
          <a:p>
            <a:pPr marL="508000" lvl="2" indent="-228600" fontAlgn="ctr">
              <a:buFont typeface="+mj-lt"/>
              <a:buAutoNum type="arabicPeriod" startAt="6"/>
            </a:pPr>
            <a:r>
              <a:rPr lang="en-US" dirty="0"/>
              <a:t>Limiting constraints of the ATC domain​</a:t>
            </a:r>
          </a:p>
          <a:p>
            <a:pPr marL="508000" lvl="2" indent="-228600" fontAlgn="ctr">
              <a:buFont typeface="+mj-lt"/>
              <a:buAutoNum type="arabicPeriod" startAt="6"/>
            </a:pPr>
            <a:r>
              <a:rPr lang="en-US" dirty="0">
                <a:ea typeface="Arial Unicode MS"/>
                <a:cs typeface="Arial"/>
              </a:rPr>
              <a:t>Most often pre-solved CNECs​</a:t>
            </a:r>
            <a:endParaRPr lang="sk-SK" dirty="0">
              <a:ea typeface="Arial Unicode MS"/>
              <a:cs typeface="Arial"/>
            </a:endParaRPr>
          </a:p>
          <a:p>
            <a:pPr marL="508000" lvl="2" indent="-228600" fontAlgn="ctr">
              <a:buFont typeface="+mj-lt"/>
              <a:buAutoNum type="arabicPeriod" startAt="6"/>
            </a:pPr>
            <a:endParaRPr lang="sk-SK" dirty="0">
              <a:ea typeface="Arial Unicode MS"/>
              <a:cs typeface="Arial"/>
            </a:endParaRPr>
          </a:p>
          <a:p>
            <a:pPr marL="0" lvl="2" indent="0">
              <a:buSzPct val="100000"/>
              <a:buNone/>
              <a:defRPr/>
            </a:pPr>
            <a:r>
              <a:rPr lang="en-US" sz="1400" dirty="0">
                <a:solidFill>
                  <a:srgbClr val="3366FF"/>
                </a:solidFill>
                <a:latin typeface="Arial"/>
              </a:rPr>
              <a:t>Net positions</a:t>
            </a:r>
          </a:p>
          <a:p>
            <a:pPr marL="508000" lvl="2" indent="-228600" fontAlgn="ctr">
              <a:buFont typeface="+mj-lt"/>
              <a:buAutoNum type="arabicPeriod" startAt="8"/>
            </a:pPr>
            <a:r>
              <a:rPr lang="en-US" dirty="0"/>
              <a:t>Min/Max Net Positions​</a:t>
            </a:r>
            <a:endParaRPr lang="sk-SK" dirty="0"/>
          </a:p>
          <a:p>
            <a:pPr marL="768350" lvl="3" indent="-228600" fontAlgn="ctr">
              <a:buSzPct val="70000"/>
              <a:buFont typeface="+mj-lt"/>
              <a:buAutoNum type="alphaLcParenR"/>
            </a:pPr>
            <a:r>
              <a:rPr lang="en-US" dirty="0"/>
              <a:t>Based on final FB domain</a:t>
            </a:r>
          </a:p>
          <a:p>
            <a:pPr marL="768350" lvl="3" indent="-228600" fontAlgn="ctr">
              <a:buSzPct val="70000"/>
              <a:buFont typeface="+mj-lt"/>
              <a:buAutoNum type="alphaLcParenR"/>
            </a:pPr>
            <a:r>
              <a:rPr lang="en-US" dirty="0"/>
              <a:t>Based on final ID ATC</a:t>
            </a:r>
          </a:p>
        </p:txBody>
      </p:sp>
    </p:spTree>
    <p:extLst>
      <p:ext uri="{BB962C8B-B14F-4D97-AF65-F5344CB8AC3E}">
        <p14:creationId xmlns:p14="http://schemas.microsoft.com/office/powerpoint/2010/main" val="25631628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0DB5F0-49DA-C114-B36F-BCB671B3D5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302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0DB5F0-49DA-C114-B36F-BCB671B3D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5" name="Picture 4" descr="A graph with red lines&#10;&#10;Description automatically generated">
            <a:extLst>
              <a:ext uri="{FF2B5EF4-FFF2-40B4-BE49-F238E27FC236}">
                <a16:creationId xmlns:a16="http://schemas.microsoft.com/office/drawing/2014/main" id="{6F02E2CE-6EAC-4ACE-80BD-1BF9184424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3060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26308EB-73AE-BE4D-6750-A289B3A43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71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6308EB-73AE-BE4D-6750-A289B3A43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5" name="Picture 4" descr="A graph with red squares&#10;&#10;Description automatically generated">
            <a:extLst>
              <a:ext uri="{FF2B5EF4-FFF2-40B4-BE49-F238E27FC236}">
                <a16:creationId xmlns:a16="http://schemas.microsoft.com/office/drawing/2014/main" id="{EB7042DD-8E54-20BC-5AD2-6059B524FD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0036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044C40A-4BF4-D8E2-73DE-D22EF53588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21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44C40A-4BF4-D8E2-73DE-D22EF5358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2B28F90F-66C2-D28C-6499-31EF28B496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4312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3E2CE4-7615-ED34-339C-107FBAE8A2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456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3E2CE4-7615-ED34-339C-107FBAE8A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6" name="Picture 5" descr="A graph of red and white lines&#10;&#10;Description automatically generated">
            <a:extLst>
              <a:ext uri="{FF2B5EF4-FFF2-40B4-BE49-F238E27FC236}">
                <a16:creationId xmlns:a16="http://schemas.microsoft.com/office/drawing/2014/main" id="{49710B90-7583-4905-05C4-28FBAFBC1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1218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176D6C-AA5A-3B9D-51EA-F1B6635CD1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874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176D6C-AA5A-3B9D-51EA-F1B6635CD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with red squares&#10;&#10;Description automatically generated">
            <a:extLst>
              <a:ext uri="{FF2B5EF4-FFF2-40B4-BE49-F238E27FC236}">
                <a16:creationId xmlns:a16="http://schemas.microsoft.com/office/drawing/2014/main" id="{2B10C675-E983-BE00-E97D-044A3F09F0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8900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7436CB-ABAA-F3FC-6ED1-CDA901AD43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282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7436CB-ABAA-F3FC-6ED1-CDA901AD4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red rectangular objects&#10;&#10;Description automatically generated with medium confidence">
            <a:extLst>
              <a:ext uri="{FF2B5EF4-FFF2-40B4-BE49-F238E27FC236}">
                <a16:creationId xmlns:a16="http://schemas.microsoft.com/office/drawing/2014/main" id="{E96D24EB-75F0-772D-BD66-5674B636D8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0159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DBEC76-9E64-8D01-705F-C2D1E28C92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131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DBEC76-9E64-8D01-705F-C2D1E28C9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with red lines&#10;&#10;Description automatically generated">
            <a:extLst>
              <a:ext uri="{FF2B5EF4-FFF2-40B4-BE49-F238E27FC236}">
                <a16:creationId xmlns:a16="http://schemas.microsoft.com/office/drawing/2014/main" id="{EB07D6DE-C374-2522-0710-B245BF1C08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9334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F3C5797-1506-D496-343B-A6C3ACFBF5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6590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3C5797-1506-D496-343B-A6C3ACFBF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27903525-E286-F3C6-4FE4-C760DC7528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2576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1445433-8561-8E17-0D7B-CDBAFABD1D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13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45433-8561-8E17-0D7B-CDBAFABD1D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457F0BE1-C5C1-240E-7350-CFB7F1A7F0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91004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BB309B-522C-7255-0E76-0512FDF4A2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5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BB309B-522C-7255-0E76-0512FDF4A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09281A49-6665-CFBA-6BD9-04D6B87A2F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470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Parallel Run KPIs</a:t>
            </a:r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en-US" dirty="0"/>
              <a:t>Reporting period and limit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ED7675-6667-D24B-91BC-481190D00DC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en-US" dirty="0"/>
              <a:t>Reporting period</a:t>
            </a:r>
          </a:p>
          <a:p>
            <a:pPr lvl="1"/>
            <a:r>
              <a:rPr lang="en-US" dirty="0">
                <a:ea typeface="Arial Unicode MS"/>
                <a:cs typeface="Arial"/>
              </a:rPr>
              <a:t>This KPI report covers three months (March – May) of the Core IDCC process in Core region, i.e. period </a:t>
            </a:r>
            <a:r>
              <a:rPr lang="sk-SK" dirty="0">
                <a:ea typeface="Arial Unicode MS"/>
                <a:cs typeface="Arial"/>
              </a:rPr>
              <a:t>01/</a:t>
            </a:r>
            <a:r>
              <a:rPr lang="fr-BE" dirty="0">
                <a:ea typeface="Arial Unicode MS"/>
                <a:cs typeface="Arial"/>
              </a:rPr>
              <a:t>03</a:t>
            </a:r>
            <a:r>
              <a:rPr lang="sk-SK" dirty="0">
                <a:ea typeface="Arial Unicode MS"/>
                <a:cs typeface="Arial"/>
              </a:rPr>
              <a:t>/202</a:t>
            </a:r>
            <a:r>
              <a:rPr lang="en-GB" dirty="0">
                <a:ea typeface="Arial Unicode MS"/>
                <a:cs typeface="Arial"/>
              </a:rPr>
              <a:t>4</a:t>
            </a:r>
            <a:r>
              <a:rPr lang="sk-SK" dirty="0">
                <a:ea typeface="Arial Unicode MS"/>
                <a:cs typeface="Arial"/>
              </a:rPr>
              <a:t> – </a:t>
            </a:r>
            <a:r>
              <a:rPr lang="en-GB" dirty="0">
                <a:ea typeface="Arial Unicode MS"/>
                <a:cs typeface="Arial"/>
              </a:rPr>
              <a:t>28</a:t>
            </a:r>
            <a:r>
              <a:rPr lang="sk-SK" dirty="0">
                <a:ea typeface="Arial Unicode MS"/>
                <a:cs typeface="Arial"/>
              </a:rPr>
              <a:t>/</a:t>
            </a:r>
            <a:r>
              <a:rPr lang="fr-BE" dirty="0">
                <a:ea typeface="Arial Unicode MS"/>
                <a:cs typeface="Arial"/>
              </a:rPr>
              <a:t>05/</a:t>
            </a:r>
            <a:r>
              <a:rPr lang="sk-SK" dirty="0">
                <a:ea typeface="Arial Unicode MS"/>
                <a:cs typeface="Arial"/>
              </a:rPr>
              <a:t>202</a:t>
            </a:r>
            <a:r>
              <a:rPr lang="en-GB" dirty="0">
                <a:ea typeface="Arial Unicode MS"/>
                <a:cs typeface="Arial"/>
              </a:rPr>
              <a:t>4</a:t>
            </a:r>
            <a:r>
              <a:rPr lang="fr-BE" dirty="0">
                <a:ea typeface="Arial Unicode MS"/>
                <a:cs typeface="Arial"/>
              </a:rPr>
              <a:t>. </a:t>
            </a:r>
          </a:p>
          <a:p>
            <a:pPr lvl="1"/>
            <a:r>
              <a:rPr lang="en-US" dirty="0">
                <a:ea typeface="Arial Unicode MS"/>
                <a:cs typeface="Arial"/>
              </a:rPr>
              <a:t>The following business days were excluded from the report:</a:t>
            </a:r>
          </a:p>
          <a:p>
            <a:pPr lvl="2"/>
            <a:r>
              <a:rPr lang="en-US" dirty="0">
                <a:ea typeface="Arial Unicode MS"/>
                <a:cs typeface="Arial"/>
              </a:rPr>
              <a:t>14/03 (</a:t>
            </a:r>
            <a:r>
              <a:rPr lang="en-US" dirty="0">
                <a:ea typeface="Arial Unicode MS"/>
                <a:cs typeface="+mn-lt"/>
              </a:rPr>
              <a:t>Zero</a:t>
            </a:r>
            <a:r>
              <a:rPr lang="en-US" dirty="0">
                <a:ea typeface="+mn-lt"/>
                <a:cs typeface="+mn-lt"/>
              </a:rPr>
              <a:t> Capacity Fallback applied for all 24 TS</a:t>
            </a:r>
            <a:r>
              <a:rPr lang="en-US" dirty="0">
                <a:ea typeface="Arial Unicode MS"/>
                <a:cs typeface="Arial"/>
              </a:rPr>
              <a:t>),</a:t>
            </a:r>
          </a:p>
          <a:p>
            <a:pPr lvl="2"/>
            <a:r>
              <a:rPr lang="en-US" dirty="0">
                <a:ea typeface="Arial Unicode MS"/>
                <a:cs typeface="Arial"/>
              </a:rPr>
              <a:t>16/03 – 18/03 (process failed / </a:t>
            </a:r>
            <a:r>
              <a:rPr lang="en-US" dirty="0">
                <a:ea typeface="+mn-lt"/>
                <a:cs typeface="+mn-lt"/>
              </a:rPr>
              <a:t>Zero Capacity Fallback applied for all 24 TS</a:t>
            </a:r>
            <a:r>
              <a:rPr lang="en-US">
                <a:ea typeface="Arial Unicode MS"/>
                <a:cs typeface="Arial"/>
              </a:rPr>
              <a:t>),</a:t>
            </a:r>
          </a:p>
          <a:p>
            <a:pPr lvl="2"/>
            <a:r>
              <a:rPr lang="en-US" dirty="0">
                <a:ea typeface="Arial Unicode MS"/>
                <a:cs typeface="Arial"/>
              </a:rPr>
              <a:t>29/03 – 09/04 (</a:t>
            </a:r>
            <a:r>
              <a:rPr lang="en-US" dirty="0">
                <a:ea typeface="Arial Unicode MS"/>
                <a:cs typeface="+mn-lt"/>
              </a:rPr>
              <a:t>d</a:t>
            </a:r>
            <a:r>
              <a:rPr lang="en-US" dirty="0">
                <a:ea typeface="+mn-lt"/>
                <a:cs typeface="+mn-lt"/>
              </a:rPr>
              <a:t>ata misalignment in the input to the process caused the results to be non-representative</a:t>
            </a:r>
            <a:r>
              <a:rPr lang="en-US" dirty="0">
                <a:ea typeface="Arial Unicode MS"/>
                <a:cs typeface="+mn-lt"/>
              </a:rPr>
              <a:t>),</a:t>
            </a:r>
            <a:endParaRPr lang="en-US" dirty="0">
              <a:ea typeface="Arial Unicode MS"/>
              <a:cs typeface="Arial"/>
            </a:endParaRPr>
          </a:p>
          <a:p>
            <a:pPr lvl="2"/>
            <a:r>
              <a:rPr lang="en-US" dirty="0">
                <a:ea typeface="Arial Unicode MS"/>
                <a:cs typeface="Arial"/>
              </a:rPr>
              <a:t>22/04 – 24/04 (</a:t>
            </a:r>
            <a:r>
              <a:rPr lang="en-US" dirty="0" err="1">
                <a:ea typeface="Arial Unicode MS"/>
                <a:cs typeface="Arial"/>
              </a:rPr>
              <a:t>CCCt</a:t>
            </a:r>
            <a:r>
              <a:rPr lang="en-US" dirty="0">
                <a:ea typeface="Arial Unicode MS"/>
                <a:cs typeface="Arial"/>
              </a:rPr>
              <a:t> 4.0.1 deployment related issues),</a:t>
            </a:r>
          </a:p>
          <a:p>
            <a:pPr lvl="2"/>
            <a:r>
              <a:rPr lang="en-US" dirty="0">
                <a:ea typeface="Arial Unicode MS"/>
                <a:cs typeface="Arial"/>
              </a:rPr>
              <a:t>05/05 (</a:t>
            </a:r>
            <a:r>
              <a:rPr lang="en-US" dirty="0">
                <a:ea typeface="Arial Unicode MS"/>
                <a:cs typeface="+mn-lt"/>
              </a:rPr>
              <a:t>f</a:t>
            </a:r>
            <a:r>
              <a:rPr lang="en-US" dirty="0">
                <a:ea typeface="+mn-lt"/>
                <a:cs typeface="+mn-lt"/>
              </a:rPr>
              <a:t>ailed process due to missing AACs on XBID </a:t>
            </a:r>
            <a:r>
              <a:rPr lang="en-US" dirty="0" err="1">
                <a:ea typeface="+mn-lt"/>
                <a:cs typeface="+mn-lt"/>
              </a:rPr>
              <a:t>CuteTSO</a:t>
            </a:r>
            <a:r>
              <a:rPr lang="en-US" dirty="0">
                <a:ea typeface="+mn-lt"/>
                <a:cs typeface="+mn-lt"/>
              </a:rPr>
              <a:t> for several borders</a:t>
            </a:r>
            <a:r>
              <a:rPr lang="en-US" dirty="0">
                <a:ea typeface="Arial Unicode MS"/>
                <a:cs typeface="+mn-lt"/>
              </a:rPr>
              <a:t>).</a:t>
            </a:r>
            <a:endParaRPr lang="en-US" dirty="0">
              <a:ea typeface="Arial Unicode MS"/>
              <a:cs typeface="Arial"/>
            </a:endParaRPr>
          </a:p>
          <a:p>
            <a:pPr lvl="1"/>
            <a:r>
              <a:rPr lang="en-US" dirty="0">
                <a:ea typeface="Arial Unicode MS"/>
                <a:cs typeface="Arial"/>
              </a:rPr>
              <a:t>As a result, KPI report contains results of 69 business days.</a:t>
            </a:r>
          </a:p>
          <a:p>
            <a:pPr marL="0" lvl="1" indent="0">
              <a:buNone/>
            </a:pPr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84829927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5A1B7D7D-CA9B-0FE3-FA72-662CC92053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8338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</a:t>
            </a:r>
            <a:r>
              <a:rPr lang="sk-SK" dirty="0"/>
              <a:t> </a:t>
            </a:r>
            <a:r>
              <a:rPr lang="en-GB" dirty="0"/>
              <a:t>7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ost often pre-solved CNECs​</a:t>
            </a:r>
          </a:p>
          <a:p>
            <a:endParaRPr lang="hu-HU" dirty="0"/>
          </a:p>
        </p:txBody>
      </p:sp>
      <p:pic>
        <p:nvPicPr>
          <p:cNvPr id="7" name="Picture 6" descr="A graph with red lines&#10;&#10;Description automatically generated">
            <a:extLst>
              <a:ext uri="{FF2B5EF4-FFF2-40B4-BE49-F238E27FC236}">
                <a16:creationId xmlns:a16="http://schemas.microsoft.com/office/drawing/2014/main" id="{7549762D-87CF-CD26-A2A2-2CD713D08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4136"/>
            <a:ext cx="9906000" cy="592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7084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5A46E79F-16A5-E29F-312A-E8F285D515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9A5D2D-D49E-BF48-BB7D-049249B585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761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9A5D2D-D49E-BF48-BB7D-049249B58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 8 – Min and Max Net Positions per bidding zone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(a) Based on </a:t>
            </a:r>
            <a:r>
              <a:rPr lang="nl-NL" dirty="0" err="1"/>
              <a:t>final</a:t>
            </a:r>
            <a:r>
              <a:rPr lang="nl-NL" dirty="0"/>
              <a:t> FB domain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739126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E34F2F2-DB63-4768-9D15-F9E0AD685F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PI 8 – Min and Max Net Positions per bidding zone</a:t>
            </a:r>
            <a:endParaRPr lang="hu-HU" dirty="0"/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F0AAED30-B420-49A7-956B-31E9D500E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(a) Based on </a:t>
            </a:r>
            <a:r>
              <a:rPr lang="nl-NL" dirty="0" err="1"/>
              <a:t>final</a:t>
            </a:r>
            <a:r>
              <a:rPr lang="nl-NL" dirty="0"/>
              <a:t> FB domain</a:t>
            </a:r>
          </a:p>
          <a:p>
            <a:endParaRPr lang="hu-HU" dirty="0"/>
          </a:p>
        </p:txBody>
      </p:sp>
      <p:pic>
        <p:nvPicPr>
          <p:cNvPr id="8" name="Picture 7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86679C51-7B0F-7DFF-F79E-9A8AE187A1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6843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6A60A63A-7750-94ED-7722-1F33A8FBCB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775643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491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71E914-3B55-75DD-D7A5-25A6D1590F72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5" name="Picture 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289056B8-49F6-7A22-A6C6-6DE441C156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627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9954610B-1F45-08DE-5006-5BDE235CE3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18305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630D9B0-8B6B-3999-01D7-D650272E7F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34191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5" name="Picture 4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8A7C8AE8-7996-126E-BB19-4D75F2F0FB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4023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B08F6076-48B6-6000-3F29-CDA8E9A281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70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1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Duration curve of Core oriented bidding zone borders with simultaneous zero (or negative) ID ATCs​</a:t>
            </a:r>
          </a:p>
        </p:txBody>
      </p:sp>
      <p:pic>
        <p:nvPicPr>
          <p:cNvPr id="6" name="Picture 5" descr="A graph on a white background&#10;&#10;Description automatically generated">
            <a:extLst>
              <a:ext uri="{FF2B5EF4-FFF2-40B4-BE49-F238E27FC236}">
                <a16:creationId xmlns:a16="http://schemas.microsoft.com/office/drawing/2014/main" id="{DB8FFF50-4AAB-2AFA-7C60-2C0CF9F131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776127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3888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9C3588-DD2A-B8EB-A41D-4020ECB6AA94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8525A31B-D405-65A0-9CBB-ED9A084148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479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B3DED-DBE6-AE87-DE36-4C001BF07825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graph with different colored lines&#10;&#10;Description automatically generated">
            <a:extLst>
              <a:ext uri="{FF2B5EF4-FFF2-40B4-BE49-F238E27FC236}">
                <a16:creationId xmlns:a16="http://schemas.microsoft.com/office/drawing/2014/main" id="{141CDC5D-7AC0-0E99-F6D1-355D7898DD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51887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EB3DED-DBE6-AE87-DE36-4C001BF07825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43AC2D36-FCF0-0B52-1283-62811467FE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9743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a) Based on final FB domai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60971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12" name="Picture 11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A16D72EE-864D-6F41-B46C-A1F8BBB687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47446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dirty="0"/>
              <a:t>(b) Based on final ID AT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screen shot of a computer&#10;&#10;Description automatically generated">
            <a:extLst>
              <a:ext uri="{FF2B5EF4-FFF2-40B4-BE49-F238E27FC236}">
                <a16:creationId xmlns:a16="http://schemas.microsoft.com/office/drawing/2014/main" id="{29CE7E63-8474-B304-8D6B-BDCC7AB51F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5796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4917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4FE73B80-3A2C-93CC-44A6-AA9DA59853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5331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0AFC5431-03B8-18EB-E94B-678CD2039C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15841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A5B65747-11B0-8F74-98F4-6281160AB9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41738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EA70C5DC-FD34-3B47-8FCB-68C189F60F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01315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F3EC06BF-1AB3-A501-2C03-ABBFA736D0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276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2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zero and negative ID ATCs by oriented Core bidding zone border, and Core average​</a:t>
            </a:r>
          </a:p>
        </p:txBody>
      </p:sp>
      <p:pic>
        <p:nvPicPr>
          <p:cNvPr id="6" name="Picture 5" descr="A graph of lines with yellow and purple colors&#10;&#10;Description automatically generated with medium confidence">
            <a:extLst>
              <a:ext uri="{FF2B5EF4-FFF2-40B4-BE49-F238E27FC236}">
                <a16:creationId xmlns:a16="http://schemas.microsoft.com/office/drawing/2014/main" id="{592F74C5-B442-AC28-C952-7C2EA211E7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3262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screen shot of a graph&#10;&#10;Description automatically generated">
            <a:extLst>
              <a:ext uri="{FF2B5EF4-FFF2-40B4-BE49-F238E27FC236}">
                <a16:creationId xmlns:a16="http://schemas.microsoft.com/office/drawing/2014/main" id="{77B06366-643B-6174-615E-00F63F5FA3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68482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0298BA22-62F6-9D06-55FB-752CA35CB8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51081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pic>
        <p:nvPicPr>
          <p:cNvPr id="13" name="Picture 12" descr="A graph of different colored lines&#10;&#10;Description automatically generated with medium confidence">
            <a:extLst>
              <a:ext uri="{FF2B5EF4-FFF2-40B4-BE49-F238E27FC236}">
                <a16:creationId xmlns:a16="http://schemas.microsoft.com/office/drawing/2014/main" id="{C49547A4-9D6F-C55E-5140-6C8901EE3D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3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9949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7" name="Picture 6" descr="A screen shot of a graph&#10;&#10;Description automatically generated">
            <a:extLst>
              <a:ext uri="{FF2B5EF4-FFF2-40B4-BE49-F238E27FC236}">
                <a16:creationId xmlns:a16="http://schemas.microsoft.com/office/drawing/2014/main" id="{7AB87395-A114-53D7-2C6C-C3C5E7E19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83072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854482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6" name="Picture 5" descr="A graph of blue and orange lines&#10;&#10;Description automatically generated">
            <a:extLst>
              <a:ext uri="{FF2B5EF4-FFF2-40B4-BE49-F238E27FC236}">
                <a16:creationId xmlns:a16="http://schemas.microsoft.com/office/drawing/2014/main" id="{89B38A39-92E6-1EFF-61AB-B36C7ED485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1412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2BD690-C8BC-AB29-2F90-08C70E3DA4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2BD690-C8BC-AB29-2F90-08C70E3DA4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83128E-940D-79EB-217B-E289D64B5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 8 – Min and Max Net Positions per bidding z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D58722-1E36-BD58-71F3-792A24E27F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nl-NL" sz="1400" dirty="0"/>
              <a:t>(</a:t>
            </a:r>
            <a:r>
              <a:rPr lang="sk-SK" sz="1400" dirty="0"/>
              <a:t>b</a:t>
            </a:r>
            <a:r>
              <a:rPr lang="nl-NL" sz="1400" dirty="0"/>
              <a:t>) </a:t>
            </a:r>
            <a:r>
              <a:rPr lang="en-US" sz="1400" dirty="0"/>
              <a:t>Based on final ID ATC</a:t>
            </a:r>
            <a:endParaRPr lang="nl-NL" sz="1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C6ECEA-AE77-9199-6E23-97B046AD50EB}"/>
              </a:ext>
            </a:extLst>
          </p:cNvPr>
          <p:cNvSpPr txBox="1"/>
          <p:nvPr/>
        </p:nvSpPr>
        <p:spPr>
          <a:xfrm>
            <a:off x="835152" y="6646865"/>
            <a:ext cx="95851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i="1" dirty="0"/>
              <a:t>Note - Missing values of min and max net positions for some timestamps are caused by empty domains.</a:t>
            </a:r>
          </a:p>
        </p:txBody>
      </p:sp>
      <p:pic>
        <p:nvPicPr>
          <p:cNvPr id="5" name="Picture 4" descr="A screenshot of a graph&#10;&#10;Description automatically generated">
            <a:extLst>
              <a:ext uri="{FF2B5EF4-FFF2-40B4-BE49-F238E27FC236}">
                <a16:creationId xmlns:a16="http://schemas.microsoft.com/office/drawing/2014/main" id="{67BF11A9-A0D5-892A-D79B-E4481C4B26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07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3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Frequency of isolated BZs of zero (or negative) ID ATCs in import, export and both directions​​</a:t>
            </a:r>
          </a:p>
        </p:txBody>
      </p:sp>
      <p:pic>
        <p:nvPicPr>
          <p:cNvPr id="4" name="Picture 3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4AD8EB1A-5FFA-E06E-1599-27605D25F3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787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4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ean positive ID ATCs by oriented Core bidding zone border, and Core average​</a:t>
            </a:r>
          </a:p>
        </p:txBody>
      </p:sp>
      <p:pic>
        <p:nvPicPr>
          <p:cNvPr id="10" name="Picture 9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78F17433-EFB4-D8ED-A741-16CF83BEB5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2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57A2B2-621F-1742-80F0-C351577381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57A2B2-621F-1742-80F0-C35157738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/>
          <a:lstStyle/>
          <a:p>
            <a:r>
              <a:rPr lang="en-US" dirty="0"/>
              <a:t>KPI</a:t>
            </a:r>
            <a:r>
              <a:rPr lang="sk-SK" dirty="0"/>
              <a:t> 5</a:t>
            </a:r>
            <a:endParaRPr lang="en-US" dirty="0"/>
          </a:p>
        </p:txBody>
      </p:sp>
      <p:sp>
        <p:nvSpPr>
          <p:cNvPr id="36" name="Content Placeholder 15">
            <a:extLst>
              <a:ext uri="{FF2B5EF4-FFF2-40B4-BE49-F238E27FC236}">
                <a16:creationId xmlns:a16="http://schemas.microsoft.com/office/drawing/2014/main" id="{E358852D-FA22-564B-8FF1-4D41EAF682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461650"/>
            <a:ext cx="8640000" cy="363850"/>
          </a:xfrm>
        </p:spPr>
        <p:txBody>
          <a:bodyPr/>
          <a:lstStyle/>
          <a:p>
            <a:r>
              <a:rPr lang="en-US" dirty="0"/>
              <a:t>Share of MTUs with intervention per TSO</a:t>
            </a:r>
          </a:p>
        </p:txBody>
      </p:sp>
      <p:pic>
        <p:nvPicPr>
          <p:cNvPr id="6" name="Picture 5" descr="A screenshot of a graph&#10;&#10;Description automatically generated">
            <a:extLst>
              <a:ext uri="{FF2B5EF4-FFF2-40B4-BE49-F238E27FC236}">
                <a16:creationId xmlns:a16="http://schemas.microsoft.com/office/drawing/2014/main" id="{F77296BE-2672-67D7-FACF-926C3CEB49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25500"/>
            <a:ext cx="9906000" cy="60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65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agnus color">
    <a:dk1>
      <a:srgbClr val="000000"/>
    </a:dk1>
    <a:lt1>
      <a:srgbClr val="FFFFFF"/>
    </a:lt1>
    <a:dk2>
      <a:srgbClr val="5F5F5F"/>
    </a:dk2>
    <a:lt2>
      <a:srgbClr val="BFBFBF"/>
    </a:lt2>
    <a:accent1>
      <a:srgbClr val="AD0600"/>
    </a:accent1>
    <a:accent2>
      <a:srgbClr val="0078AA"/>
    </a:accent2>
    <a:accent3>
      <a:srgbClr val="A0AA05"/>
    </a:accent3>
    <a:accent4>
      <a:srgbClr val="DC7306"/>
    </a:accent4>
    <a:accent5>
      <a:srgbClr val="E4002B"/>
    </a:accent5>
    <a:accent6>
      <a:srgbClr val="004682"/>
    </a:accent6>
    <a:hlink>
      <a:srgbClr val="3F3F3F"/>
    </a:hlink>
    <a:folHlink>
      <a:srgbClr val="A5A5A5"/>
    </a:folHlink>
  </a:clrScheme>
</a:themeOverride>
</file>

<file path=ppt/theme/themeOverride2.xml><?xml version="1.0" encoding="utf-8"?>
<a:themeOverride xmlns:a="http://schemas.openxmlformats.org/drawingml/2006/main">
  <a:clrScheme name="Magnus color">
    <a:dk1>
      <a:srgbClr val="000000"/>
    </a:dk1>
    <a:lt1>
      <a:srgbClr val="FFFFFF"/>
    </a:lt1>
    <a:dk2>
      <a:srgbClr val="5F5F5F"/>
    </a:dk2>
    <a:lt2>
      <a:srgbClr val="BFBFBF"/>
    </a:lt2>
    <a:accent1>
      <a:srgbClr val="AD0600"/>
    </a:accent1>
    <a:accent2>
      <a:srgbClr val="0078AA"/>
    </a:accent2>
    <a:accent3>
      <a:srgbClr val="A0AA05"/>
    </a:accent3>
    <a:accent4>
      <a:srgbClr val="DC7306"/>
    </a:accent4>
    <a:accent5>
      <a:srgbClr val="E4002B"/>
    </a:accent5>
    <a:accent6>
      <a:srgbClr val="004682"/>
    </a:accent6>
    <a:hlink>
      <a:srgbClr val="3F3F3F"/>
    </a:hlink>
    <a:folHlink>
      <a:srgbClr val="A5A5A5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3bb33e5-bbf9-4bbd-b752-30f1ea546036">
      <Terms xmlns="http://schemas.microsoft.com/office/infopath/2007/PartnerControls"/>
    </lcf76f155ced4ddcb4097134ff3c332f>
    <TaxCatchAll xmlns="6708568e-76bd-4ab6-a0fd-e9029131293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E20F6677570B4594AE3C70D059D60F" ma:contentTypeVersion="16" ma:contentTypeDescription="Create a new document." ma:contentTypeScope="" ma:versionID="06d67ccb7b9e804c946eea4de301aa21">
  <xsd:schema xmlns:xsd="http://www.w3.org/2001/XMLSchema" xmlns:xs="http://www.w3.org/2001/XMLSchema" xmlns:p="http://schemas.microsoft.com/office/2006/metadata/properties" xmlns:ns2="d3bb33e5-bbf9-4bbd-b752-30f1ea546036" xmlns:ns3="6708568e-76bd-4ab6-a0fd-e90291312931" targetNamespace="http://schemas.microsoft.com/office/2006/metadata/properties" ma:root="true" ma:fieldsID="6e1b1801bf9de293437c600e00c73275" ns2:_="" ns3:_="">
    <xsd:import namespace="d3bb33e5-bbf9-4bbd-b752-30f1ea546036"/>
    <xsd:import namespace="6708568e-76bd-4ab6-a0fd-e902913129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bb33e5-bbf9-4bbd-b752-30f1ea5460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f583ee3c-f8b4-4f86-8f08-197d062ad5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08568e-76bd-4ab6-a0fd-e9029131293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228334f-05a1-48ac-b2dd-e71f0020a819}" ma:internalName="TaxCatchAll" ma:showField="CatchAllData" ma:web="6708568e-76bd-4ab6-a0fd-e902913129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3B1F98-5418-4DB4-8887-EEDBE3A3006E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d3bb33e5-bbf9-4bbd-b752-30f1ea546036"/>
    <ds:schemaRef ds:uri="http://schemas.microsoft.com/office/infopath/2007/PartnerControls"/>
    <ds:schemaRef ds:uri="6708568e-76bd-4ab6-a0fd-e90291312931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9C66D46-DB5D-41A2-AFA4-25CF3594102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73E8D5-F2F0-41D3-8329-5DDC3BA8AA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bb33e5-bbf9-4bbd-b752-30f1ea546036"/>
    <ds:schemaRef ds:uri="6708568e-76bd-4ab6-a0fd-e9029131293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2</Words>
  <Application>Microsoft Macintosh PowerPoint</Application>
  <PresentationFormat>A4 Paper (210x297 mm)</PresentationFormat>
  <Paragraphs>188</Paragraphs>
  <Slides>6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5</vt:i4>
      </vt:variant>
    </vt:vector>
  </HeadingPairs>
  <TitlesOfParts>
    <vt:vector size="70" baseType="lpstr">
      <vt:lpstr>Arial Unicode MS</vt:lpstr>
      <vt:lpstr>Arial</vt:lpstr>
      <vt:lpstr>Wingdings</vt:lpstr>
      <vt:lpstr>7_Magnus Red 4ENERGY</vt:lpstr>
      <vt:lpstr>think-cell Slide</vt:lpstr>
      <vt:lpstr>PowerPoint Presentation</vt:lpstr>
      <vt:lpstr>Parallel Run KPIs</vt:lpstr>
      <vt:lpstr>Parallel Run KPIs</vt:lpstr>
      <vt:lpstr>Parallel Run KPIs</vt:lpstr>
      <vt:lpstr>KPI 1</vt:lpstr>
      <vt:lpstr>KPI 2</vt:lpstr>
      <vt:lpstr>KPI 3</vt:lpstr>
      <vt:lpstr>KPI 4</vt:lpstr>
      <vt:lpstr>KPI 5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6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7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  <vt:lpstr>KPI 8 – Min and Max Net Positions per bidding z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94</cp:revision>
  <dcterms:created xsi:type="dcterms:W3CDTF">2018-12-04T09:56:18Z</dcterms:created>
  <dcterms:modified xsi:type="dcterms:W3CDTF">2024-07-31T13:5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E20F6677570B4594AE3C70D059D60F</vt:lpwstr>
  </property>
  <property fmtid="{D5CDD505-2E9C-101B-9397-08002B2CF9AE}" pid="3" name="MediaServiceImageTags">
    <vt:lpwstr/>
  </property>
  <property fmtid="{D5CDD505-2E9C-101B-9397-08002B2CF9AE}" pid="4" name="MSIP_Label_2e585759-362d-4185-bb50-fc81b58bf15d_Enabled">
    <vt:lpwstr>true</vt:lpwstr>
  </property>
  <property fmtid="{D5CDD505-2E9C-101B-9397-08002B2CF9AE}" pid="5" name="MSIP_Label_2e585759-362d-4185-bb50-fc81b58bf15d_SetDate">
    <vt:lpwstr>2023-07-27T08:20:10Z</vt:lpwstr>
  </property>
  <property fmtid="{D5CDD505-2E9C-101B-9397-08002B2CF9AE}" pid="6" name="MSIP_Label_2e585759-362d-4185-bb50-fc81b58bf15d_Method">
    <vt:lpwstr>Standard</vt:lpwstr>
  </property>
  <property fmtid="{D5CDD505-2E9C-101B-9397-08002B2CF9AE}" pid="7" name="MSIP_Label_2e585759-362d-4185-bb50-fc81b58bf15d_Name">
    <vt:lpwstr>2e585759-362d-4185-bb50-fc81b58bf15d</vt:lpwstr>
  </property>
  <property fmtid="{D5CDD505-2E9C-101B-9397-08002B2CF9AE}" pid="8" name="MSIP_Label_2e585759-362d-4185-bb50-fc81b58bf15d_SiteId">
    <vt:lpwstr>6dfa2abc-8bb8-4557-855c-e532cacb5122</vt:lpwstr>
  </property>
  <property fmtid="{D5CDD505-2E9C-101B-9397-08002B2CF9AE}" pid="9" name="MSIP_Label_2e585759-362d-4185-bb50-fc81b58bf15d_ActionId">
    <vt:lpwstr>c2acad35-995c-4d7d-8153-26c54193e6a1</vt:lpwstr>
  </property>
  <property fmtid="{D5CDD505-2E9C-101B-9397-08002B2CF9AE}" pid="10" name="MSIP_Label_2e585759-362d-4185-bb50-fc81b58bf15d_ContentBits">
    <vt:lpwstr>0</vt:lpwstr>
  </property>
</Properties>
</file>